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210A1735-088F-402A-8C28-8456FEA7BA68}">
          <p14:sldIdLst>
            <p14:sldId id="2147475173"/>
            <p14:sldId id="2147475174"/>
            <p14:sldId id="2147475175"/>
            <p14:sldId id="2147475176"/>
            <p14:sldId id="2147475177"/>
            <p14:sldId id="2147475178"/>
          </p14:sldIdLst>
        </p14:section>
        <p14:section name="Brackets By Retailer By Sector" id="{F3382E36-DF36-4CF5-9575-6EAB8EDBB92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D0F52D04-0D68-4CB1-AC48-E86C8A872397}">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115859415532545E-3</c:v>
                </c:pt>
                <c:pt idx="1">
                  <c:v>3.3487926822339267E-2</c:v>
                </c:pt>
                <c:pt idx="2">
                  <c:v>0.11542314622600523</c:v>
                </c:pt>
                <c:pt idx="3">
                  <c:v>0.25306267888657741</c:v>
                </c:pt>
                <c:pt idx="4">
                  <c:v>0.39242675220379619</c:v>
                </c:pt>
                <c:pt idx="5">
                  <c:v>0.20010811840969855</c:v>
                </c:pt>
                <c:pt idx="6">
                  <c:v>7.797915100301700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6116834867528214E-3</c:v>
                </c:pt>
                <c:pt idx="2">
                  <c:v>8.0702682118940269E-3</c:v>
                </c:pt>
                <c:pt idx="3">
                  <c:v>8.9468476447193983E-4</c:v>
                </c:pt>
                <c:pt idx="4">
                  <c:v>8.7428205883108116E-3</c:v>
                </c:pt>
                <c:pt idx="5">
                  <c:v>1.56398152688262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53742015450741E-3</c:v>
                </c:pt>
                <c:pt idx="2">
                  <c:v>0.10056376439324646</c:v>
                </c:pt>
                <c:pt idx="3">
                  <c:v>0.20390060448269487</c:v>
                </c:pt>
                <c:pt idx="4">
                  <c:v>0.55943323609585205</c:v>
                </c:pt>
                <c:pt idx="5">
                  <c:v>0.1038446609746087</c:v>
                </c:pt>
                <c:pt idx="6">
                  <c:v>2.87023598520529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E-2</c:v>
                </c:pt>
                <c:pt idx="4">
                  <c:v>0.88843076945420352</c:v>
                </c:pt>
                <c:pt idx="5">
                  <c:v>7.02450617600147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02</c:v>
                </c:pt>
                <c:pt idx="5">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447779611227729E-3</c:v>
                </c:pt>
                <c:pt idx="1">
                  <c:v>2.7760245056699179E-2</c:v>
                </c:pt>
                <c:pt idx="2">
                  <c:v>0.11934437643587233</c:v>
                </c:pt>
                <c:pt idx="3">
                  <c:v>0.26734464696552929</c:v>
                </c:pt>
                <c:pt idx="4">
                  <c:v>0.37912908429641573</c:v>
                </c:pt>
                <c:pt idx="5">
                  <c:v>0.19566123676135391</c:v>
                </c:pt>
                <c:pt idx="6">
                  <c:v>4.015632523006747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2098172766123009E-2</c:v>
                </c:pt>
                <c:pt idx="2">
                  <c:v>5.7943830949497767E-2</c:v>
                </c:pt>
                <c:pt idx="3">
                  <c:v>4.2701024220851792E-2</c:v>
                </c:pt>
                <c:pt idx="4">
                  <c:v>6.5590918261191081E-2</c:v>
                </c:pt>
                <c:pt idx="5">
                  <c:v>1.242883612809747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2660402847081449E-2</c:v>
                </c:pt>
                <c:pt idx="2">
                  <c:v>7.7800554359570215E-2</c:v>
                </c:pt>
                <c:pt idx="3">
                  <c:v>8.6251124281583498E-3</c:v>
                </c:pt>
                <c:pt idx="4">
                  <c:v>8.4284223346426851E-2</c:v>
                </c:pt>
                <c:pt idx="5">
                  <c:v>1.50773960176768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0652299163325473E-3</c:v>
                </c:pt>
                <c:pt idx="2">
                  <c:v>7.9609345012478065E-3</c:v>
                </c:pt>
                <c:pt idx="3">
                  <c:v>3.0146749635464654E-3</c:v>
                </c:pt>
                <c:pt idx="4">
                  <c:v>1.004452642804176E-2</c:v>
                </c:pt>
                <c:pt idx="5">
                  <c:v>6.3422353471643807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7.5099891325612428E-2</c:v>
                </c:pt>
                <c:pt idx="3">
                  <c:v>2.8439093690432658E-2</c:v>
                </c:pt>
                <c:pt idx="4">
                  <c:v>9.4755564569076856E-2</c:v>
                </c:pt>
                <c:pt idx="5">
                  <c:v>5.982980832951794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8079169897273E-2</c:v>
                </c:pt>
                <c:pt idx="2">
                  <c:v>4.2169192354775738E-2</c:v>
                </c:pt>
                <c:pt idx="3">
                  <c:v>0.31159330763478188</c:v>
                </c:pt>
                <c:pt idx="4">
                  <c:v>0.55257420013576153</c:v>
                </c:pt>
                <c:pt idx="5">
                  <c:v>5.809760309798891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65E-2</c:v>
                </c:pt>
                <c:pt idx="2">
                  <c:v>4.8559042899347739E-2</c:v>
                </c:pt>
                <c:pt idx="3">
                  <c:v>0.24618674300182217</c:v>
                </c:pt>
                <c:pt idx="4">
                  <c:v>0.60115421813792924</c:v>
                </c:pt>
                <c:pt idx="5">
                  <c:v>5.6894186185215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6372359036796E-2</c:v>
                </c:pt>
                <c:pt idx="2">
                  <c:v>7.2599537803512179E-2</c:v>
                </c:pt>
                <c:pt idx="3">
                  <c:v>0.29723458418362969</c:v>
                </c:pt>
                <c:pt idx="4">
                  <c:v>0.55923618607313497</c:v>
                </c:pt>
                <c:pt idx="5">
                  <c:v>5.048543530884941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32416561429879E-3</c:v>
                </c:pt>
                <c:pt idx="1">
                  <c:v>9.1680698553222532E-3</c:v>
                </c:pt>
                <c:pt idx="2">
                  <c:v>9.5878988297154716E-2</c:v>
                </c:pt>
                <c:pt idx="3">
                  <c:v>0.12681280824640867</c:v>
                </c:pt>
                <c:pt idx="4">
                  <c:v>0.38312067811449413</c:v>
                </c:pt>
                <c:pt idx="5">
                  <c:v>0.382006213830477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7</c:v>
                </c:pt>
                <c:pt idx="4">
                  <c:v>0.431716533043907</c:v>
                </c:pt>
                <c:pt idx="5">
                  <c:v>0.34687347885839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115859415532545E-3</c:v>
                </c:pt>
                <c:pt idx="1">
                  <c:v>3.3487926822339267E-2</c:v>
                </c:pt>
                <c:pt idx="2">
                  <c:v>0.11542314622600523</c:v>
                </c:pt>
                <c:pt idx="3">
                  <c:v>0.25306267888657741</c:v>
                </c:pt>
                <c:pt idx="4">
                  <c:v>0.39242675220379619</c:v>
                </c:pt>
                <c:pt idx="5">
                  <c:v>0.20010811840969855</c:v>
                </c:pt>
                <c:pt idx="6">
                  <c:v>7.797915100301700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0815776284355207E-4</c:v>
                </c:pt>
                <c:pt idx="2">
                  <c:v>8.3312816052570876E-2</c:v>
                </c:pt>
                <c:pt idx="3">
                  <c:v>0.13055996567023354</c:v>
                </c:pt>
                <c:pt idx="4">
                  <c:v>0.38648477014640992</c:v>
                </c:pt>
                <c:pt idx="5">
                  <c:v>0.3986729164574497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797037320037875E-2</c:v>
                </c:pt>
                <c:pt idx="1">
                  <c:v>6.6281020707424962E-2</c:v>
                </c:pt>
                <c:pt idx="2">
                  <c:v>0.21222544325068682</c:v>
                </c:pt>
                <c:pt idx="3">
                  <c:v>0.4881235136927875</c:v>
                </c:pt>
                <c:pt idx="4">
                  <c:v>0.20707641511045416</c:v>
                </c:pt>
                <c:pt idx="5">
                  <c:v>9.496569918608645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5E-2</c:v>
                </c:pt>
                <c:pt idx="1">
                  <c:v>4.58853424980189E-2</c:v>
                </c:pt>
                <c:pt idx="2">
                  <c:v>0.19124469261645943</c:v>
                </c:pt>
                <c:pt idx="3">
                  <c:v>0.50343710515048379</c:v>
                </c:pt>
                <c:pt idx="4">
                  <c:v>0.23257033706164643</c:v>
                </c:pt>
                <c:pt idx="5">
                  <c:v>1.17315861923018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62381599003958E-2</c:v>
                </c:pt>
                <c:pt idx="1">
                  <c:v>6.7529882543703984E-2</c:v>
                </c:pt>
                <c:pt idx="2">
                  <c:v>0.22654494927316576</c:v>
                </c:pt>
                <c:pt idx="3">
                  <c:v>0.47410950417657494</c:v>
                </c:pt>
                <c:pt idx="4">
                  <c:v>0.18871797876878638</c:v>
                </c:pt>
                <c:pt idx="5">
                  <c:v>1.383530363876503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63206576342793E-3</c:v>
                </c:pt>
                <c:pt idx="2">
                  <c:v>7.1630185775853478E-2</c:v>
                </c:pt>
                <c:pt idx="3">
                  <c:v>0.18213042192281223</c:v>
                </c:pt>
                <c:pt idx="4">
                  <c:v>0.58337040901939197</c:v>
                </c:pt>
                <c:pt idx="5">
                  <c:v>0.15683276160589696</c:v>
                </c:pt>
                <c:pt idx="6">
                  <c:v>3.847281902812153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4147839245693171E-3</c:v>
                </c:pt>
                <c:pt idx="4">
                  <c:v>7.7763110176387465E-3</c:v>
                </c:pt>
                <c:pt idx="5">
                  <c:v>8.85840224331261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5004</c:v>
                </c:pt>
                <c:pt idx="5">
                  <c:v>0.19372224476650263</c:v>
                </c:pt>
                <c:pt idx="6">
                  <c:v>7.295793532500751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53742015450741E-3</c:v>
                </c:pt>
                <c:pt idx="2">
                  <c:v>0.10056376439324646</c:v>
                </c:pt>
                <c:pt idx="3">
                  <c:v>0.20390060448269487</c:v>
                </c:pt>
                <c:pt idx="4">
                  <c:v>0.55943323609585205</c:v>
                </c:pt>
                <c:pt idx="5">
                  <c:v>0.1038446609746087</c:v>
                </c:pt>
                <c:pt idx="6">
                  <c:v>2.87023598520529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E-2</c:v>
                </c:pt>
                <c:pt idx="4">
                  <c:v>0.88843076945420352</c:v>
                </c:pt>
                <c:pt idx="5">
                  <c:v>7.02450617600147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02</c:v>
                </c:pt>
                <c:pt idx="5">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53E-3</c:v>
                </c:pt>
                <c:pt idx="1">
                  <c:v>3.2119265828930418E-2</c:v>
                </c:pt>
                <c:pt idx="2">
                  <c:v>0.1134814049493723</c:v>
                </c:pt>
                <c:pt idx="3">
                  <c:v>0.23589599597480859</c:v>
                </c:pt>
                <c:pt idx="4">
                  <c:v>0.40814205728880371</c:v>
                </c:pt>
                <c:pt idx="5">
                  <c:v>0.20556364616861456</c:v>
                </c:pt>
                <c:pt idx="6">
                  <c:v>7.166297012213648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3569573067529505E-3</c:v>
                </c:pt>
                <c:pt idx="4">
                  <c:v>8.8979448050836435E-3</c:v>
                </c:pt>
                <c:pt idx="5">
                  <c:v>1.18917799932748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8079169897273E-2</c:v>
                </c:pt>
                <c:pt idx="2">
                  <c:v>4.2169192354775738E-2</c:v>
                </c:pt>
                <c:pt idx="3">
                  <c:v>0.31159330763478188</c:v>
                </c:pt>
                <c:pt idx="4">
                  <c:v>0.55257420013576153</c:v>
                </c:pt>
                <c:pt idx="5">
                  <c:v>5.809760309798891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878060916134092E-2</c:v>
                </c:pt>
                <c:pt idx="4">
                  <c:v>6.0194721989301196E-2</c:v>
                </c:pt>
                <c:pt idx="5">
                  <c:v>1.42805150767977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65E-2</c:v>
                </c:pt>
                <c:pt idx="2">
                  <c:v>4.8559042899347739E-2</c:v>
                </c:pt>
                <c:pt idx="3">
                  <c:v>0.24618674300182217</c:v>
                </c:pt>
                <c:pt idx="4">
                  <c:v>0.60115421813792924</c:v>
                </c:pt>
                <c:pt idx="5">
                  <c:v>5.6894186185215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852628303944447E-2</c:v>
                </c:pt>
                <c:pt idx="4">
                  <c:v>6.857874750025944E-2</c:v>
                </c:pt>
                <c:pt idx="5">
                  <c:v>1.5251409655766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6372359036796E-2</c:v>
                </c:pt>
                <c:pt idx="2">
                  <c:v>7.2599537803512179E-2</c:v>
                </c:pt>
                <c:pt idx="3">
                  <c:v>0.29723458418362969</c:v>
                </c:pt>
                <c:pt idx="4">
                  <c:v>0.55923618607313497</c:v>
                </c:pt>
                <c:pt idx="5">
                  <c:v>5.048543530884941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4081454224107403E-2</c:v>
                </c:pt>
                <c:pt idx="4">
                  <c:v>7.8557783458637495E-2</c:v>
                </c:pt>
                <c:pt idx="5">
                  <c:v>2.213966869468540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32416561429879E-3</c:v>
                </c:pt>
                <c:pt idx="1">
                  <c:v>9.1680698553222532E-3</c:v>
                </c:pt>
                <c:pt idx="2">
                  <c:v>9.5878988297154716E-2</c:v>
                </c:pt>
                <c:pt idx="3">
                  <c:v>0.12681280824640867</c:v>
                </c:pt>
                <c:pt idx="4">
                  <c:v>0.38312067811449413</c:v>
                </c:pt>
                <c:pt idx="5">
                  <c:v>0.382006213830477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447779611227729E-3</c:v>
                </c:pt>
                <c:pt idx="1">
                  <c:v>2.7760245056699179E-2</c:v>
                </c:pt>
                <c:pt idx="2">
                  <c:v>0.11934437643587233</c:v>
                </c:pt>
                <c:pt idx="3">
                  <c:v>0.26734464696552929</c:v>
                </c:pt>
                <c:pt idx="4">
                  <c:v>0.37912908429641573</c:v>
                </c:pt>
                <c:pt idx="5">
                  <c:v>0.19566123676135391</c:v>
                </c:pt>
                <c:pt idx="6">
                  <c:v>4.015632523006747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0476051752909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7</c:v>
                </c:pt>
                <c:pt idx="4">
                  <c:v>0.431716533043907</c:v>
                </c:pt>
                <c:pt idx="5">
                  <c:v>0.34687347885839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614462086261064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0815776284355207E-4</c:v>
                </c:pt>
                <c:pt idx="2">
                  <c:v>8.3312816052570876E-2</c:v>
                </c:pt>
                <c:pt idx="3">
                  <c:v>0.13055996567023354</c:v>
                </c:pt>
                <c:pt idx="4">
                  <c:v>0.38648477014640992</c:v>
                </c:pt>
                <c:pt idx="5">
                  <c:v>0.3986729164574497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375085520330023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797037320037875E-2</c:v>
                </c:pt>
                <c:pt idx="1">
                  <c:v>6.6281020707424962E-2</c:v>
                </c:pt>
                <c:pt idx="2">
                  <c:v>0.21222544325068682</c:v>
                </c:pt>
                <c:pt idx="3">
                  <c:v>0.4881235136927875</c:v>
                </c:pt>
                <c:pt idx="4">
                  <c:v>0.20707641511045416</c:v>
                </c:pt>
                <c:pt idx="5">
                  <c:v>9.496569918608645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5E-2</c:v>
                </c:pt>
                <c:pt idx="1">
                  <c:v>4.58853424980189E-2</c:v>
                </c:pt>
                <c:pt idx="2">
                  <c:v>0.19124469261645943</c:v>
                </c:pt>
                <c:pt idx="3">
                  <c:v>0.50343710515048379</c:v>
                </c:pt>
                <c:pt idx="4">
                  <c:v>0.23257033706164643</c:v>
                </c:pt>
                <c:pt idx="5">
                  <c:v>1.17315861923018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62381599003958E-2</c:v>
                </c:pt>
                <c:pt idx="1">
                  <c:v>6.7529882543703984E-2</c:v>
                </c:pt>
                <c:pt idx="2">
                  <c:v>0.22654494927316576</c:v>
                </c:pt>
                <c:pt idx="3">
                  <c:v>0.47410950417657494</c:v>
                </c:pt>
                <c:pt idx="4">
                  <c:v>0.18871797876878638</c:v>
                </c:pt>
                <c:pt idx="5">
                  <c:v>1.383530363876503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61945193792437E-3</c:v>
                </c:pt>
                <c:pt idx="4">
                  <c:v>1.0976288069047125E-2</c:v>
                </c:pt>
                <c:pt idx="5">
                  <c:v>1.368072688352527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63206576342793E-3</c:v>
                </c:pt>
                <c:pt idx="2">
                  <c:v>7.1630185775853478E-2</c:v>
                </c:pt>
                <c:pt idx="3">
                  <c:v>0.18213042192281223</c:v>
                </c:pt>
                <c:pt idx="4">
                  <c:v>0.58337040901939197</c:v>
                </c:pt>
                <c:pt idx="5">
                  <c:v>0.15683276160589696</c:v>
                </c:pt>
                <c:pt idx="6">
                  <c:v>3.847281902812153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5004</c:v>
                </c:pt>
                <c:pt idx="5">
                  <c:v>0.19372224476650263</c:v>
                </c:pt>
                <c:pt idx="6">
                  <c:v>7.295793532500751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53742015450741E-3</c:v>
                </c:pt>
                <c:pt idx="2">
                  <c:v>0.10056376439324646</c:v>
                </c:pt>
                <c:pt idx="3">
                  <c:v>0.20390060448269487</c:v>
                </c:pt>
                <c:pt idx="4">
                  <c:v>0.55943323609585205</c:v>
                </c:pt>
                <c:pt idx="5">
                  <c:v>0.1038446609746087</c:v>
                </c:pt>
                <c:pt idx="6">
                  <c:v>2.87023598520529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E-2</c:v>
                </c:pt>
                <c:pt idx="4">
                  <c:v>0.88843076945420352</c:v>
                </c:pt>
                <c:pt idx="5">
                  <c:v>7.02450617600147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168034978318356E-3</c:v>
                </c:pt>
                <c:pt idx="1">
                  <c:v>3.4984186478661645E-2</c:v>
                </c:pt>
                <c:pt idx="2">
                  <c:v>0.12057696366540469</c:v>
                </c:pt>
                <c:pt idx="3">
                  <c:v>0.24394239554040859</c:v>
                </c:pt>
                <c:pt idx="4">
                  <c:v>0.40726527506674604</c:v>
                </c:pt>
                <c:pt idx="5">
                  <c:v>0.1876677037620601</c:v>
                </c:pt>
                <c:pt idx="6">
                  <c:v>6.4667198888705268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02</c:v>
                </c:pt>
                <c:pt idx="5">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1472887524785108E-3</c:v>
                </c:pt>
                <c:pt idx="3">
                  <c:v>2.6683561890659801E-3</c:v>
                </c:pt>
                <c:pt idx="4">
                  <c:v>9.1950021647084837E-3</c:v>
                </c:pt>
                <c:pt idx="5">
                  <c:v>4.54085814251758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3772782180523029E-3</c:v>
                </c:pt>
                <c:pt idx="3">
                  <c:v>2.7875828039684958E-3</c:v>
                </c:pt>
                <c:pt idx="4">
                  <c:v>9.6058502316238806E-3</c:v>
                </c:pt>
                <c:pt idx="5">
                  <c:v>4.74375127474008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E-3</c:v>
                </c:pt>
                <c:pt idx="1">
                  <c:v>3.3746952717115544E-2</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5349158368287267E-3</c:v>
                </c:pt>
                <c:pt idx="3">
                  <c:v>2.0579282678446667E-3</c:v>
                </c:pt>
                <c:pt idx="4">
                  <c:v>9.3310180115548213E-3</c:v>
                </c:pt>
                <c:pt idx="5">
                  <c:v>6.357870587301926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512631400680654E-3</c:v>
                </c:pt>
                <c:pt idx="1">
                  <c:v>2.9433262055105915E-2</c:v>
                </c:pt>
                <c:pt idx="2">
                  <c:v>0.12653686231031827</c:v>
                </c:pt>
                <c:pt idx="3">
                  <c:v>0.25485941787635102</c:v>
                </c:pt>
                <c:pt idx="4">
                  <c:v>0.39923577778447261</c:v>
                </c:pt>
                <c:pt idx="5">
                  <c:v>0.17852577558717275</c:v>
                </c:pt>
                <c:pt idx="6">
                  <c:v>4.2576412465112961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6708548942498056E-3</c:v>
                </c:pt>
                <c:pt idx="3">
                  <c:v>4.5590375294608503E-3</c:v>
                </c:pt>
                <c:pt idx="4">
                  <c:v>1.0236278177590988E-2</c:v>
                </c:pt>
                <c:pt idx="5">
                  <c:v>5.857737662009135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8493934911453</c:v>
                </c:pt>
                <c:pt idx="4">
                  <c:v>2.2390625098833761E-2</c:v>
                </c:pt>
                <c:pt idx="5">
                  <c:v>0.48752033758852159</c:v>
                </c:pt>
                <c:pt idx="6">
                  <c:v>3.995123402850997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93047473851809</c:v>
                </c:pt>
                <c:pt idx="4">
                  <c:v>2.5558696901447086E-2</c:v>
                </c:pt>
                <c:pt idx="5">
                  <c:v>0.4785108283600347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53E-3</c:v>
                </c:pt>
                <c:pt idx="1">
                  <c:v>3.2119265828930418E-2</c:v>
                </c:pt>
                <c:pt idx="2">
                  <c:v>0.1134814049493723</c:v>
                </c:pt>
                <c:pt idx="3">
                  <c:v>0.23589599597480859</c:v>
                </c:pt>
                <c:pt idx="4">
                  <c:v>0.40814205728880371</c:v>
                </c:pt>
                <c:pt idx="5">
                  <c:v>0.20556364616861456</c:v>
                </c:pt>
                <c:pt idx="6">
                  <c:v>7.166297012213648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168034978318356E-3</c:v>
                </c:pt>
                <c:pt idx="1">
                  <c:v>3.4984186478661645E-2</c:v>
                </c:pt>
                <c:pt idx="2">
                  <c:v>0.12057696366540469</c:v>
                </c:pt>
                <c:pt idx="3">
                  <c:v>0.24394239554040859</c:v>
                </c:pt>
                <c:pt idx="4">
                  <c:v>0.40726527506674604</c:v>
                </c:pt>
                <c:pt idx="5">
                  <c:v>0.1876677037620601</c:v>
                </c:pt>
                <c:pt idx="6">
                  <c:v>6.4667198888705268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655141324150406E-3</c:v>
                </c:pt>
                <c:pt idx="2">
                  <c:v>6.1086870612731513E-3</c:v>
                </c:pt>
                <c:pt idx="3">
                  <c:v>4.5017250307176956E-3</c:v>
                </c:pt>
                <c:pt idx="4">
                  <c:v>6.9148757883885767E-3</c:v>
                </c:pt>
                <c:pt idx="5">
                  <c:v>1.31030118648120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E-3</c:v>
                </c:pt>
                <c:pt idx="1">
                  <c:v>3.3746952717115544E-2</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123258798760101E-3</c:v>
                </c:pt>
                <c:pt idx="3">
                  <c:v>1.9586700359540744E-3</c:v>
                </c:pt>
                <c:pt idx="4">
                  <c:v>8.8809632822244248E-3</c:v>
                </c:pt>
                <c:pt idx="5">
                  <c:v>6.051217045025776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0098768442806877E-2</c:v>
                </c:pt>
                <c:pt idx="2">
                  <c:v>8.4792398808792319E-3</c:v>
                </c:pt>
                <c:pt idx="3">
                  <c:v>9.400241152511937E-4</c:v>
                </c:pt>
                <c:pt idx="4">
                  <c:v>9.1858747512901778E-3</c:v>
                </c:pt>
                <c:pt idx="5">
                  <c:v>1.643238389048437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512631400680654E-3</c:v>
                </c:pt>
                <c:pt idx="1">
                  <c:v>2.9433262055105915E-2</c:v>
                </c:pt>
                <c:pt idx="2">
                  <c:v>0.12653686231031827</c:v>
                </c:pt>
                <c:pt idx="3">
                  <c:v>0.25485941787635102</c:v>
                </c:pt>
                <c:pt idx="4">
                  <c:v>0.39923577778447261</c:v>
                </c:pt>
                <c:pt idx="5">
                  <c:v>0.17852577558717275</c:v>
                </c:pt>
                <c:pt idx="6">
                  <c:v>4.2576412465112961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6115609632492129E-3</c:v>
                </c:pt>
                <c:pt idx="2">
                  <c:v>8.4407133618661905E-3</c:v>
                </c:pt>
                <c:pt idx="3">
                  <c:v>3.1963593272249231E-3</c:v>
                </c:pt>
                <c:pt idx="4">
                  <c:v>1.0649876395981047E-2</c:v>
                </c:pt>
                <c:pt idx="5">
                  <c:v>6.7244606309120646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8493934911453</c:v>
                </c:pt>
                <c:pt idx="4">
                  <c:v>2.2390625098833761E-2</c:v>
                </c:pt>
                <c:pt idx="5">
                  <c:v>0.48752033758852159</c:v>
                </c:pt>
                <c:pt idx="6">
                  <c:v>3.995123402850997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93047473851809</c:v>
                </c:pt>
                <c:pt idx="4">
                  <c:v>2.5558696901447086E-2</c:v>
                </c:pt>
                <c:pt idx="5">
                  <c:v>0.4785108283600347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447779611227729E-3</c:v>
                </c:pt>
                <c:pt idx="1">
                  <c:v>2.7760245056699179E-2</c:v>
                </c:pt>
                <c:pt idx="2">
                  <c:v>0.11934437643587233</c:v>
                </c:pt>
                <c:pt idx="3">
                  <c:v>0.26734464696552929</c:v>
                </c:pt>
                <c:pt idx="4">
                  <c:v>0.37912908429641573</c:v>
                </c:pt>
                <c:pt idx="5">
                  <c:v>0.19566123676135391</c:v>
                </c:pt>
                <c:pt idx="6">
                  <c:v>4.015632523006747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168034978318356E-3</c:v>
                </c:pt>
                <c:pt idx="1">
                  <c:v>3.4984186478661645E-2</c:v>
                </c:pt>
                <c:pt idx="2">
                  <c:v>0.12057696366540469</c:v>
                </c:pt>
                <c:pt idx="3">
                  <c:v>0.24394239554040859</c:v>
                </c:pt>
                <c:pt idx="4">
                  <c:v>0.40726527506674604</c:v>
                </c:pt>
                <c:pt idx="5">
                  <c:v>0.1876677037620601</c:v>
                </c:pt>
                <c:pt idx="6">
                  <c:v>6.4667198888705268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5226805068273958E-3</c:v>
                </c:pt>
                <c:pt idx="4">
                  <c:v>8.0855764832636779E-3</c:v>
                </c:pt>
                <c:pt idx="5">
                  <c:v>5.544473851815854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E-3</c:v>
                </c:pt>
                <c:pt idx="1">
                  <c:v>3.3746952717115544E-2</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476399280447082E-3</c:v>
                </c:pt>
                <c:pt idx="4">
                  <c:v>9.1668879613909376E-3</c:v>
                </c:pt>
                <c:pt idx="5">
                  <c:v>7.849336338458905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512631400680654E-3</c:v>
                </c:pt>
                <c:pt idx="1">
                  <c:v>2.9433262055105915E-2</c:v>
                </c:pt>
                <c:pt idx="2">
                  <c:v>0.12653686231031827</c:v>
                </c:pt>
                <c:pt idx="3">
                  <c:v>0.25485941787635102</c:v>
                </c:pt>
                <c:pt idx="4">
                  <c:v>0.39923577778447261</c:v>
                </c:pt>
                <c:pt idx="5">
                  <c:v>0.17852577558717275</c:v>
                </c:pt>
                <c:pt idx="6">
                  <c:v>4.2576412465112961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2916766159098192E-3</c:v>
                </c:pt>
                <c:pt idx="3">
                  <c:v>4.2998971301098686E-3</c:v>
                </c:pt>
                <c:pt idx="4">
                  <c:v>9.6544375593317269E-3</c:v>
                </c:pt>
                <c:pt idx="5">
                  <c:v>5.524777806509580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0489316825076524E-3</c:v>
                </c:pt>
                <c:pt idx="4">
                  <c:v>1.1637792190549589E-2</c:v>
                </c:pt>
                <c:pt idx="5">
                  <c:v>7.724262589574621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8493934911453</c:v>
                </c:pt>
                <c:pt idx="4">
                  <c:v>2.2390625098833761E-2</c:v>
                </c:pt>
                <c:pt idx="5">
                  <c:v>0.48752033758852159</c:v>
                </c:pt>
                <c:pt idx="6">
                  <c:v>3.995123402850997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8.82376663967480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100031105406566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93047473851809</c:v>
                </c:pt>
                <c:pt idx="4">
                  <c:v>2.5558696901447086E-2</c:v>
                </c:pt>
                <c:pt idx="5">
                  <c:v>0.4785108283600347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117594841045602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115859415532545E-3</c:v>
                </c:pt>
                <c:pt idx="1">
                  <c:v>3.3487926822339267E-2</c:v>
                </c:pt>
                <c:pt idx="2">
                  <c:v>0.11542314622600523</c:v>
                </c:pt>
                <c:pt idx="3">
                  <c:v>0.25306267888657741</c:v>
                </c:pt>
                <c:pt idx="4">
                  <c:v>0.39242675220379619</c:v>
                </c:pt>
                <c:pt idx="5">
                  <c:v>0.20010811840969855</c:v>
                </c:pt>
                <c:pt idx="6">
                  <c:v>7.797915100301700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1006066755415164E-2</c:v>
                </c:pt>
                <c:pt idx="3">
                  <c:v>2.6441561849660927E-2</c:v>
                </c:pt>
                <c:pt idx="4">
                  <c:v>8.8039606848534527E-2</c:v>
                </c:pt>
                <c:pt idx="5">
                  <c:v>3.889885955327180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7.8311404423753145E-2</c:v>
                </c:pt>
                <c:pt idx="3">
                  <c:v>1.8882348219866989E-2</c:v>
                </c:pt>
                <c:pt idx="4">
                  <c:v>7.9747482769148073E-2</c:v>
                </c:pt>
                <c:pt idx="5">
                  <c:v>5.151538746637596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9352859898126727E-2</c:v>
                </c:pt>
                <c:pt idx="3">
                  <c:v>4.056330411108755E-2</c:v>
                </c:pt>
                <c:pt idx="4">
                  <c:v>9.1037794309395265E-2</c:v>
                </c:pt>
                <c:pt idx="5">
                  <c:v>4.323960295438646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8079169897273E-2</c:v>
                </c:pt>
                <c:pt idx="2">
                  <c:v>4.2169192354775738E-2</c:v>
                </c:pt>
                <c:pt idx="3">
                  <c:v>0.31159330763478188</c:v>
                </c:pt>
                <c:pt idx="4">
                  <c:v>0.55257420013576153</c:v>
                </c:pt>
                <c:pt idx="5">
                  <c:v>5.809760309798891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2849556564413614E-3</c:v>
                </c:pt>
                <c:pt idx="2">
                  <c:v>5.8474147938529569E-3</c:v>
                </c:pt>
                <c:pt idx="3">
                  <c:v>4.3091835084101632E-3</c:v>
                </c:pt>
                <c:pt idx="4">
                  <c:v>6.6191223379270378E-3</c:v>
                </c:pt>
                <c:pt idx="5">
                  <c:v>1.254258806414683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4145962907951308E-3</c:v>
                </c:pt>
                <c:pt idx="5">
                  <c:v>4.78595248592671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65E-2</c:v>
                </c:pt>
                <c:pt idx="2">
                  <c:v>4.8559042899347739E-2</c:v>
                </c:pt>
                <c:pt idx="3">
                  <c:v>0.24618674300182217</c:v>
                </c:pt>
                <c:pt idx="4">
                  <c:v>0.60115421813792924</c:v>
                </c:pt>
                <c:pt idx="5">
                  <c:v>5.6894186185215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4.7848491834714662E-3</c:v>
                </c:pt>
                <c:pt idx="5">
                  <c:v>5.56124633252818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6372359036796E-2</c:v>
                </c:pt>
                <c:pt idx="2">
                  <c:v>7.2599537803512179E-2</c:v>
                </c:pt>
                <c:pt idx="3">
                  <c:v>0.29723458418362969</c:v>
                </c:pt>
                <c:pt idx="4">
                  <c:v>0.55923618607313497</c:v>
                </c:pt>
                <c:pt idx="5">
                  <c:v>5.048543530884941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6.736072035449517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32416561429879E-3</c:v>
                </c:pt>
                <c:pt idx="1">
                  <c:v>9.1680698553222532E-3</c:v>
                </c:pt>
                <c:pt idx="2">
                  <c:v>9.5878988297154716E-2</c:v>
                </c:pt>
                <c:pt idx="3">
                  <c:v>0.12681280824640867</c:v>
                </c:pt>
                <c:pt idx="4">
                  <c:v>0.38312067811449413</c:v>
                </c:pt>
                <c:pt idx="5">
                  <c:v>0.382006213830477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7</c:v>
                </c:pt>
                <c:pt idx="4">
                  <c:v>0.431716533043907</c:v>
                </c:pt>
                <c:pt idx="5">
                  <c:v>0.34687347885839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0815776284355207E-4</c:v>
                </c:pt>
                <c:pt idx="2">
                  <c:v>8.3312816052570876E-2</c:v>
                </c:pt>
                <c:pt idx="3">
                  <c:v>0.13055996567023354</c:v>
                </c:pt>
                <c:pt idx="4">
                  <c:v>0.38648477014640992</c:v>
                </c:pt>
                <c:pt idx="5">
                  <c:v>0.3986729164574497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53E-3</c:v>
                </c:pt>
                <c:pt idx="1">
                  <c:v>3.2119265828930418E-2</c:v>
                </c:pt>
                <c:pt idx="2">
                  <c:v>0.1134814049493723</c:v>
                </c:pt>
                <c:pt idx="3">
                  <c:v>0.23589599597480859</c:v>
                </c:pt>
                <c:pt idx="4">
                  <c:v>0.40814205728880371</c:v>
                </c:pt>
                <c:pt idx="5">
                  <c:v>0.20556364616861456</c:v>
                </c:pt>
                <c:pt idx="6">
                  <c:v>7.166297012213648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797037320037875E-2</c:v>
                </c:pt>
                <c:pt idx="1">
                  <c:v>6.6281020707424962E-2</c:v>
                </c:pt>
                <c:pt idx="2">
                  <c:v>0.21222544325068682</c:v>
                </c:pt>
                <c:pt idx="3">
                  <c:v>0.4881235136927875</c:v>
                </c:pt>
                <c:pt idx="4">
                  <c:v>0.20707641511045416</c:v>
                </c:pt>
                <c:pt idx="5">
                  <c:v>9.496569918608645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5E-2</c:v>
                </c:pt>
                <c:pt idx="1">
                  <c:v>4.58853424980189E-2</c:v>
                </c:pt>
                <c:pt idx="2">
                  <c:v>0.19124469261645943</c:v>
                </c:pt>
                <c:pt idx="3">
                  <c:v>0.50343710515048379</c:v>
                </c:pt>
                <c:pt idx="4">
                  <c:v>0.23257033706164643</c:v>
                </c:pt>
                <c:pt idx="5">
                  <c:v>1.17315861923018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62381599003958E-2</c:v>
                </c:pt>
                <c:pt idx="1">
                  <c:v>6.7529882543703984E-2</c:v>
                </c:pt>
                <c:pt idx="2">
                  <c:v>0.22654494927316576</c:v>
                </c:pt>
                <c:pt idx="3">
                  <c:v>0.47410950417657494</c:v>
                </c:pt>
                <c:pt idx="4">
                  <c:v>0.18871797876878638</c:v>
                </c:pt>
                <c:pt idx="5">
                  <c:v>1.383530363876503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63206576342793E-3</c:v>
                </c:pt>
                <c:pt idx="2">
                  <c:v>7.1630185775853478E-2</c:v>
                </c:pt>
                <c:pt idx="3">
                  <c:v>0.18213042192281223</c:v>
                </c:pt>
                <c:pt idx="4">
                  <c:v>0.58337040901939197</c:v>
                </c:pt>
                <c:pt idx="5">
                  <c:v>0.15683276160589696</c:v>
                </c:pt>
                <c:pt idx="6">
                  <c:v>3.847281902812153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5004</c:v>
                </c:pt>
                <c:pt idx="5">
                  <c:v>0.19372224476650263</c:v>
                </c:pt>
                <c:pt idx="6">
                  <c:v>7.295793532500751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2283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96991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9680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87437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7841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70307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1931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99535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6422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9617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3086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56978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74358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2315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43041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0925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37860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2094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01786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7079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71561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9532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2605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67480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8308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53999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8674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337736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3139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25765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06406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767268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2092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738645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210516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22682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124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98735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078750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9591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0807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306122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473980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8464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8540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40331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25763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01207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23218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82955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5279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043028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41343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61305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2760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555011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511420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12760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882114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06959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07370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98530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07564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7341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14712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8064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4733</Words>
  <Application>Microsoft Office PowerPoint</Application>
  <PresentationFormat>On-screen Show (16:9)</PresentationFormat>
  <Paragraphs>1375</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3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